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>
        <p:scale>
          <a:sx n="110" d="100"/>
          <a:sy n="110" d="100"/>
        </p:scale>
        <p:origin x="-900" y="-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4824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0532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3208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5657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7053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3683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9596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2036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3663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7796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2406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5B8FD-6BDF-478D-B7CF-9865D76730F8}" type="datetimeFigureOut">
              <a:rPr lang="da-DK" smtClean="0"/>
              <a:t>29-06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0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51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00472" y="312911"/>
            <a:ext cx="66529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/>
              <a:t>Template  </a:t>
            </a:r>
            <a:r>
              <a:rPr lang="en-US" sz="1400" b="1" dirty="0" smtClean="0"/>
              <a:t>3.1  </a:t>
            </a:r>
            <a:r>
              <a:rPr lang="en-US" sz="1400" b="1" dirty="0"/>
              <a:t>Objective Breakdown Structure (OBS)</a:t>
            </a:r>
            <a:endParaRPr lang="da-DK" sz="1400" dirty="0"/>
          </a:p>
        </p:txBody>
      </p:sp>
      <p:grpSp>
        <p:nvGrpSpPr>
          <p:cNvPr id="43" name="Group 42"/>
          <p:cNvGrpSpPr/>
          <p:nvPr/>
        </p:nvGrpSpPr>
        <p:grpSpPr>
          <a:xfrm>
            <a:off x="200472" y="4525395"/>
            <a:ext cx="9510253" cy="720080"/>
            <a:chOff x="272480" y="4258269"/>
            <a:chExt cx="9510253" cy="720080"/>
          </a:xfrm>
        </p:grpSpPr>
        <p:sp>
          <p:nvSpPr>
            <p:cNvPr id="22" name="Rectangle 21"/>
            <p:cNvSpPr/>
            <p:nvPr/>
          </p:nvSpPr>
          <p:spPr>
            <a:xfrm>
              <a:off x="272480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235997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63031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199514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8126549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00472" y="5661248"/>
            <a:ext cx="9510253" cy="720080"/>
            <a:chOff x="272480" y="5476474"/>
            <a:chExt cx="9510253" cy="720080"/>
          </a:xfrm>
        </p:grpSpPr>
        <p:sp>
          <p:nvSpPr>
            <p:cNvPr id="27" name="Rectangle 26"/>
            <p:cNvSpPr/>
            <p:nvPr/>
          </p:nvSpPr>
          <p:spPr>
            <a:xfrm>
              <a:off x="272480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235997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126549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smtClean="0">
                  <a:solidFill>
                    <a:schemeClr val="tx1"/>
                  </a:solidFill>
                </a:rPr>
                <a:t>Sub-deliverabl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163031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199514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deliverabl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047189" y="1003913"/>
            <a:ext cx="5816818" cy="1344967"/>
            <a:chOff x="1864710" y="1196752"/>
            <a:chExt cx="5816818" cy="1344967"/>
          </a:xfrm>
        </p:grpSpPr>
        <p:sp>
          <p:nvSpPr>
            <p:cNvPr id="6" name="Rectangle 5"/>
            <p:cNvSpPr/>
            <p:nvPr/>
          </p:nvSpPr>
          <p:spPr>
            <a:xfrm>
              <a:off x="3945027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025344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864710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864710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945027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025344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74762" y="2764654"/>
            <a:ext cx="8161673" cy="1344967"/>
            <a:chOff x="764746" y="2708920"/>
            <a:chExt cx="8161673" cy="1344967"/>
          </a:xfrm>
        </p:grpSpPr>
        <p:sp>
          <p:nvSpPr>
            <p:cNvPr id="11" name="Rectangle 10"/>
            <p:cNvSpPr/>
            <p:nvPr/>
          </p:nvSpPr>
          <p:spPr>
            <a:xfrm>
              <a:off x="76474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92891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25725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09308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b-purpose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769516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936422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103328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270235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Success criteria</a:t>
              </a: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7178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</Words>
  <Application>Microsoft Office PowerPoint</Application>
  <PresentationFormat>A4 (210 x 297 mm)</PresentationFormat>
  <Paragraphs>80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-præsentation</vt:lpstr>
    </vt:vector>
  </TitlesOfParts>
  <Company>Implement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Ryding Olsson - Implement Consulting Group</dc:creator>
  <cp:lastModifiedBy>Torben W. Nielsen</cp:lastModifiedBy>
  <cp:revision>5</cp:revision>
  <dcterms:created xsi:type="dcterms:W3CDTF">2015-02-12T12:46:24Z</dcterms:created>
  <dcterms:modified xsi:type="dcterms:W3CDTF">2015-06-29T16:35:52Z</dcterms:modified>
</cp:coreProperties>
</file>